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7" r:id="rId4"/>
    <p:sldId id="259" r:id="rId5"/>
    <p:sldId id="260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>
        <p:scale>
          <a:sx n="58" d="100"/>
          <a:sy n="58" d="100"/>
        </p:scale>
        <p:origin x="964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330255-81CE-4132-8F5A-A60F560696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0A89B2-E0BF-415D-BEF4-1029CBA4A0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E1A66B-65CA-45B7-BBD6-C6920B4DE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FE8124-BCAF-4C41-87B3-44458F383F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E2C504-7FAB-4834-B162-1D9DE6267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0395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69CB7-4231-41CA-BA9A-BDF1AA50C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E7A749-0CF9-41B4-B5A5-21228FB2D4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235369-6471-44A0-AFEF-FA9233784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AA6E01-E587-4596-9001-339FC58305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F5073B-8F81-43B2-9D40-B7E13E7CD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42056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C10BB6C-2B48-418F-9771-4FBE50821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BCBC66-3965-45F9-A29B-978F3C9D46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F6F31F-A40A-4A99-A420-4552E8FBF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500B0E-BF7D-4F1D-B5D5-A3DAEFAF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91E9-CED3-48EA-9CD5-6F8B213E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02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F5E01-1F3D-4903-89CD-8EFBC8B5E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2A7500-DA7C-4087-A9F6-EFB8643259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0A8B74-E308-4154-BBC2-9C69ADF0FA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93016A-4DB1-49C3-9454-F93DC40F6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BDEF89-467C-4D66-85E7-7C8D48716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141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16873-258F-49AF-B005-C86230C27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8C1BA-11B0-4D00-AFE1-CA8212AAB0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B63D00-8C65-4FFB-8942-AAEDC3779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B7A86C-6C6A-439E-9789-AF36D9536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0C3473-11D9-4202-B271-29C399336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738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EBD9B9-7191-46C9-90D9-9551DC980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6AB70A-6346-4073-9503-9DF7486FC5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40E8D8-3F72-425B-98E6-91FCB66DE2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D40513-B267-4CEF-AC73-5527F1108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4F45B-569C-404E-9C07-BA08FCC51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910EBB-66CA-4300-B952-0B4BF6F7D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16330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C8F36-9487-4D68-A76F-4EBABA84D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C703A9-D954-4673-844A-29D30B8B20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32D73E-BE29-4088-8184-3AC67838A9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3C5EFA-4EEB-47BA-9876-71E9960C7F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D894C0-0ED3-462B-96CE-BF51921458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65E9AB-9D8C-4C6D-816D-334600B965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6099348-2B8C-4B89-80D3-B9CF4C3CA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2CD73D4-EE1F-4C5F-8AB0-C439B6B45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6105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D148EB-0B8C-4E78-BF2D-B7CED2025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102128-80FE-4C26-BE9E-64F0DA174A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0C9A31-26FE-4FE2-BCC6-BD18BE864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E3BB40-7A5F-46BD-8774-CF4EB25BA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0235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F529FF-505E-4DEE-AB80-80A071E4E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4AD804-B2B9-4369-9DDB-3C2203CB5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2834C8-324F-4BAC-9512-A36596022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770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7A278-2E42-45D3-BF02-690B45D95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4F722B-5A7F-4426-ABDA-CBCC639085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C76BC4-BBC0-405D-B630-B16233625F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196FA7-3310-43AC-BC23-DCCF1EF21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A97B7C-EC8D-4339-873B-66FD7E02B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6066EF-C27E-4224-AEB9-566E1F158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13961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0A7CD-C2C4-461A-BEFE-F2A438955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600E19-A516-4A75-BAFA-989C41BFB5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DF0B7F-9E58-4287-A16F-1CA824E898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0C06D6-C072-4B3B-8A34-7B7A03232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D18A78-20A3-42AD-8E16-97A101F15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551589-3980-47EC-923A-E972CAA02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8150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215505-FCB7-48D9-911C-1886ED5E05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479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761DBEB-EA83-4E1C-AFB4-4EC710292AE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229632-E5BC-4FD8-BF94-51261C01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2F5E9D-47CA-4381-BEC2-6BEB2FAA0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EB1198-1D56-4890-B48E-4D79911E13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9F468F-E20C-43E5-B393-88D3D50FD9A0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53AD49-64B1-4C0D-AD81-C0A6BB6CC8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C64CC-A12C-4BCD-84DE-630E83DEFB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79F2FE-62D7-4658-B5B9-7E08DCEBE9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7485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E735AA-51F6-40CE-92BB-3E6E78320F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369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8D89DE7-E299-4B9F-8DD8-5DB563162D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E18CF5-723D-491E-8EAF-7D5329130B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eattle road accident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725B4-0949-4262-822B-E572A707CBF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340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025355-BEC7-4C31-97C4-616B6F0923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5343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5E58105-EF80-4B2F-B3EB-603FC63C6B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9D56A4-0DCC-45E3-AD99-91478B51B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problem and data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99B23-E90F-4EFE-8E1D-A21C0F0B2F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recent years many municipalities around the world gained access to large sets of traffic / road accident data that is still </a:t>
            </a:r>
            <a:r>
              <a:rPr lang="en-US" b="1" dirty="0"/>
              <a:t>relatively underutilized</a:t>
            </a:r>
          </a:p>
          <a:p>
            <a:r>
              <a:rPr lang="en-US" dirty="0"/>
              <a:t>The </a:t>
            </a:r>
            <a:r>
              <a:rPr lang="en-US" b="1" dirty="0"/>
              <a:t>key objective </a:t>
            </a:r>
            <a:r>
              <a:rPr lang="en-US" dirty="0"/>
              <a:t>of the report is to </a:t>
            </a:r>
            <a:r>
              <a:rPr lang="en-US" b="1" dirty="0"/>
              <a:t>predict the severity of the road accident</a:t>
            </a:r>
            <a:r>
              <a:rPr lang="en-US" dirty="0"/>
              <a:t> based on the various data points such as weather and road condition, accident coordinates and </a:t>
            </a:r>
            <a:r>
              <a:rPr lang="en-US" dirty="0" err="1"/>
              <a:t>etc</a:t>
            </a:r>
            <a:endParaRPr lang="en-US" dirty="0"/>
          </a:p>
          <a:p>
            <a:r>
              <a:rPr lang="en-US" dirty="0"/>
              <a:t>Analysis is based on the data provided by </a:t>
            </a:r>
            <a:r>
              <a:rPr lang="en-US" b="1" dirty="0"/>
              <a:t>Seattle municipalit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3459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A7A37F-B8BD-462C-9270-58853CB352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34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0EA783-EABD-4B2E-ABD4-FE4BECECF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401DB2-8EC7-4C81-BB8E-CCDEF5779C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667251"/>
          </a:xfrm>
        </p:spPr>
        <p:txBody>
          <a:bodyPr>
            <a:normAutofit fontScale="77500" lnSpcReduction="20000"/>
          </a:bodyPr>
          <a:lstStyle/>
          <a:p>
            <a:pPr marL="0" lvl="0" indent="0">
              <a:buNone/>
            </a:pPr>
            <a:r>
              <a:rPr lang="en-US" dirty="0"/>
              <a:t>We have leveraged </a:t>
            </a:r>
            <a:r>
              <a:rPr lang="en-US" b="1" dirty="0"/>
              <a:t>Multivariable Logistic Regression, Random Forest, </a:t>
            </a:r>
            <a:r>
              <a:rPr lang="en-US" b="1" dirty="0" err="1"/>
              <a:t>XGBoost</a:t>
            </a:r>
            <a:r>
              <a:rPr lang="en-US" b="1" dirty="0"/>
              <a:t> and Deep Learning models</a:t>
            </a:r>
            <a:r>
              <a:rPr lang="en-US" dirty="0"/>
              <a:t> and followed this methodology:</a:t>
            </a:r>
          </a:p>
          <a:p>
            <a:pPr lvl="0"/>
            <a:r>
              <a:rPr lang="en-US" dirty="0"/>
              <a:t>Split the cleaned data into train and test sets</a:t>
            </a:r>
          </a:p>
          <a:p>
            <a:pPr lvl="0"/>
            <a:r>
              <a:rPr lang="en-US" b="1" dirty="0"/>
              <a:t>Balance out the training set only</a:t>
            </a:r>
            <a:r>
              <a:rPr lang="en-US" dirty="0"/>
              <a:t> by random </a:t>
            </a:r>
            <a:r>
              <a:rPr lang="en-US" dirty="0" err="1"/>
              <a:t>undersampling</a:t>
            </a:r>
            <a:r>
              <a:rPr lang="en-US" dirty="0"/>
              <a:t> to have a 50:50 split for positive and negative results</a:t>
            </a:r>
          </a:p>
          <a:p>
            <a:pPr lvl="0"/>
            <a:r>
              <a:rPr lang="en-US" dirty="0"/>
              <a:t>Standardize train and test data </a:t>
            </a:r>
          </a:p>
          <a:p>
            <a:pPr lvl="0"/>
            <a:r>
              <a:rPr lang="en-US" dirty="0"/>
              <a:t>Create a subset of training data for Grid Search purposes (in order to shorten computing time)</a:t>
            </a:r>
          </a:p>
          <a:p>
            <a:pPr lvl="0"/>
            <a:r>
              <a:rPr lang="en-US" dirty="0"/>
              <a:t>Initialize the machine learning model </a:t>
            </a:r>
          </a:p>
          <a:p>
            <a:pPr lvl="0"/>
            <a:r>
              <a:rPr lang="en-US" dirty="0"/>
              <a:t>Run Randomized Grid Search on subset of the data (see step 3) to help tune the hyperparameters</a:t>
            </a:r>
          </a:p>
          <a:p>
            <a:pPr lvl="0"/>
            <a:r>
              <a:rPr lang="en-US" dirty="0"/>
              <a:t>Initialize and run the model with tuned hyperparameters from the previous step on full training data</a:t>
            </a:r>
          </a:p>
          <a:p>
            <a:r>
              <a:rPr lang="en-US" dirty="0"/>
              <a:t>Predict results for imbalanced test dataset and output resul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795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DFEE03-9E90-4287-84DC-A6EFD306B2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573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96DA97-15F0-4084-B4FD-C634E0EAE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4FEC8D1-B098-4D3D-8A8D-C3350035AF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8248286"/>
              </p:ext>
            </p:extLst>
          </p:nvPr>
        </p:nvGraphicFramePr>
        <p:xfrm>
          <a:off x="1301975" y="2030026"/>
          <a:ext cx="8778458" cy="3401288"/>
        </p:xfrm>
        <a:graphic>
          <a:graphicData uri="http://schemas.openxmlformats.org/drawingml/2006/table">
            <a:tbl>
              <a:tblPr firstRow="1" firstCol="1" bandRow="1"/>
              <a:tblGrid>
                <a:gridCol w="1755302">
                  <a:extLst>
                    <a:ext uri="{9D8B030D-6E8A-4147-A177-3AD203B41FA5}">
                      <a16:colId xmlns:a16="http://schemas.microsoft.com/office/drawing/2014/main" val="1366611748"/>
                    </a:ext>
                  </a:extLst>
                </a:gridCol>
                <a:gridCol w="1755302">
                  <a:extLst>
                    <a:ext uri="{9D8B030D-6E8A-4147-A177-3AD203B41FA5}">
                      <a16:colId xmlns:a16="http://schemas.microsoft.com/office/drawing/2014/main" val="71120090"/>
                    </a:ext>
                  </a:extLst>
                </a:gridCol>
                <a:gridCol w="1755302">
                  <a:extLst>
                    <a:ext uri="{9D8B030D-6E8A-4147-A177-3AD203B41FA5}">
                      <a16:colId xmlns:a16="http://schemas.microsoft.com/office/drawing/2014/main" val="940966801"/>
                    </a:ext>
                  </a:extLst>
                </a:gridCol>
                <a:gridCol w="1756276">
                  <a:extLst>
                    <a:ext uri="{9D8B030D-6E8A-4147-A177-3AD203B41FA5}">
                      <a16:colId xmlns:a16="http://schemas.microsoft.com/office/drawing/2014/main" val="3253545691"/>
                    </a:ext>
                  </a:extLst>
                </a:gridCol>
                <a:gridCol w="1756276">
                  <a:extLst>
                    <a:ext uri="{9D8B030D-6E8A-4147-A177-3AD203B41FA5}">
                      <a16:colId xmlns:a16="http://schemas.microsoft.com/office/drawing/2014/main" val="3442452762"/>
                    </a:ext>
                  </a:extLst>
                </a:gridCol>
              </a:tblGrid>
              <a:tr h="900710"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Meiryo" panose="020B0604030504040204" pitchFamily="34" charset="-128"/>
                          <a:cs typeface="Dubai" panose="020B0503030403030204" pitchFamily="34" charset="-78"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ubai" panose="020B0503030403030204" pitchFamily="34" charset="-78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Meiryo" panose="020B0604030504040204" pitchFamily="34" charset="-128"/>
                          <a:cs typeface="Dubai" panose="020B0503030403030204" pitchFamily="34" charset="-78"/>
                        </a:rPr>
                        <a:t>Multivariable Logistic Regression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ubai" panose="020B0503030403030204" pitchFamily="34" charset="-78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>
                          <a:effectLst/>
                          <a:latin typeface="Calibri" panose="020F0502020204030204" pitchFamily="34" charset="0"/>
                          <a:ea typeface="Meiryo" panose="020B0604030504040204" pitchFamily="34" charset="-128"/>
                          <a:cs typeface="Dubai" panose="020B0503030403030204" pitchFamily="34" charset="-78"/>
                        </a:rPr>
                        <a:t>Random Forest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ubai" panose="020B0503030403030204" pitchFamily="34" charset="-78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>
                          <a:effectLst/>
                          <a:latin typeface="Calibri" panose="020F0502020204030204" pitchFamily="34" charset="0"/>
                          <a:ea typeface="Meiryo" panose="020B0604030504040204" pitchFamily="34" charset="-128"/>
                          <a:cs typeface="Dubai" panose="020B0503030403030204" pitchFamily="34" charset="-78"/>
                        </a:rPr>
                        <a:t>XGBoost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ubai" panose="020B0503030403030204" pitchFamily="34" charset="-78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>
                          <a:effectLst/>
                          <a:latin typeface="Calibri" panose="020F0502020204030204" pitchFamily="34" charset="0"/>
                          <a:ea typeface="Meiryo" panose="020B0604030504040204" pitchFamily="34" charset="-128"/>
                          <a:cs typeface="Dubai" panose="020B0503030403030204" pitchFamily="34" charset="-78"/>
                        </a:rPr>
                        <a:t>Deep Learning (1 hidden layer of 128 neurons)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Dubai" panose="020B0503030403030204" pitchFamily="34" charset="-78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7581736"/>
                  </a:ext>
                </a:extLst>
              </a:tr>
              <a:tr h="300236"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Accuracy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675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683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688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694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6777734"/>
                  </a:ext>
                </a:extLst>
              </a:tr>
              <a:tr h="999398"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Balanced accuracy (average of recall)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09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13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16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11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2469667"/>
                  </a:ext>
                </a:extLst>
              </a:tr>
              <a:tr h="300236"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F1 score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606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61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614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607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4553776"/>
                  </a:ext>
                </a:extLst>
              </a:tr>
              <a:tr h="300236"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Recall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98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92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92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55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627710"/>
                  </a:ext>
                </a:extLst>
              </a:tr>
              <a:tr h="300236"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Precision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489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496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501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507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7419941"/>
                  </a:ext>
                </a:extLst>
              </a:tr>
              <a:tr h="300236"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AUC ROC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91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97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99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Dubai" panose="020B0503030403030204" pitchFamily="34" charset="-78"/>
                        </a:rPr>
                        <a:t>0.795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9833062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0570AF1-E3C2-4F41-BDB2-8D8C31C7B82F}"/>
              </a:ext>
            </a:extLst>
          </p:cNvPr>
          <p:cNvSpPr/>
          <p:nvPr/>
        </p:nvSpPr>
        <p:spPr>
          <a:xfrm>
            <a:off x="6096000" y="1509309"/>
            <a:ext cx="2100549" cy="3922005"/>
          </a:xfrm>
          <a:prstGeom prst="rect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b="1" dirty="0">
                <a:solidFill>
                  <a:schemeClr val="accent2">
                    <a:lumMod val="50000"/>
                  </a:schemeClr>
                </a:solidFill>
              </a:rPr>
              <a:t>Best performance</a:t>
            </a:r>
          </a:p>
        </p:txBody>
      </p:sp>
    </p:spTree>
    <p:extLst>
      <p:ext uri="{BB962C8B-B14F-4D97-AF65-F5344CB8AC3E}">
        <p14:creationId xmlns:p14="http://schemas.microsoft.com/office/powerpoint/2010/main" val="3151965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B3A471-1A1D-4DE0-988E-1D5BE5DED5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497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5D8CE75-2E76-455A-A68C-DA33F63ED7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59A95A-D730-407D-9EB4-EEE9B3A28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rther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F0E5E6-9F71-4272-9F91-57422425B8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Use more machine learning algorithms (</a:t>
            </a:r>
            <a:r>
              <a:rPr lang="en-GB" dirty="0" err="1"/>
              <a:t>e.g</a:t>
            </a:r>
            <a:r>
              <a:rPr lang="en-GB" dirty="0"/>
              <a:t> .SVM and K-Nearest Neighbours) and compare performance</a:t>
            </a:r>
          </a:p>
          <a:p>
            <a:r>
              <a:rPr lang="en-GB" dirty="0"/>
              <a:t>Create more features, e.g. extract granular data like district name from the coordinates</a:t>
            </a:r>
          </a:p>
          <a:p>
            <a:r>
              <a:rPr lang="en-GB" dirty="0"/>
              <a:t>Remove some irrelevant features based on inferential statistical analysis</a:t>
            </a:r>
          </a:p>
          <a:p>
            <a:r>
              <a:rPr lang="en-GB" dirty="0"/>
              <a:t>Use a more comprehensive dataset located at Seattle municipality website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5154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aR9GhFFnJWPHCYA3al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plGIiLCyBP.1GBjxQY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UrS4gobVcwAFFq384_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i5tolUfdE9uFtjM0V6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309</Words>
  <Application>Microsoft Office PowerPoint</Application>
  <PresentationFormat>Widescreen</PresentationFormat>
  <Paragraphs>5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think-cell Slide</vt:lpstr>
      <vt:lpstr>Seattle road accident analysis</vt:lpstr>
      <vt:lpstr>Business problem and data description</vt:lpstr>
      <vt:lpstr>Methodology</vt:lpstr>
      <vt:lpstr>Results</vt:lpstr>
      <vt:lpstr>Further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attle road accident analysis</dc:title>
  <dc:creator>Vorobiov, Nikita</dc:creator>
  <cp:lastModifiedBy>Vorobiov, Nikita</cp:lastModifiedBy>
  <cp:revision>6</cp:revision>
  <dcterms:created xsi:type="dcterms:W3CDTF">2020-09-29T14:50:20Z</dcterms:created>
  <dcterms:modified xsi:type="dcterms:W3CDTF">2020-09-29T15:09:30Z</dcterms:modified>
</cp:coreProperties>
</file>